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6" r:id="rId4"/>
  </p:sldMasterIdLst>
  <p:notesMasterIdLst>
    <p:notesMasterId r:id="rId6"/>
  </p:notesMasterIdLst>
  <p:sldIdLst>
    <p:sldId id="61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Slides" id="{CA6C5564-70FE-4F06-A1D4-26344BC20223}">
          <p14:sldIdLst>
            <p14:sldId id="61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D20E775B-B30C-2397-2CC0-1091A8A4692D}" name="Blake Norton (SYNAXIS CORPORATION)" initials="BN" userId="S::v-blnort@microsoft.com::c7b2b92d-57f0-4b9f-a279-7f61fcd2e32f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B"/>
    <a:srgbClr val="FFFFFF"/>
    <a:srgbClr val="DDEEF8"/>
    <a:srgbClr val="B63EC5"/>
    <a:srgbClr val="0078D4"/>
    <a:srgbClr val="B1B3B3"/>
    <a:srgbClr val="49C5B1"/>
    <a:srgbClr val="F5EBE9"/>
    <a:srgbClr val="593794"/>
    <a:srgbClr val="E4DF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126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ABE1F-CA5A-2B44-8AB1-8023C3D7A890}" type="datetimeFigureOut">
              <a:rPr lang="en-US" smtClean="0"/>
              <a:t>2/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7A88C-D68B-7E43-B6BD-8EAA306090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04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7BF9DD-8278-B0EC-B11D-1B42DC0F4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334081-BB9B-D14A-2580-C34E80F9BB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C3C15E-9460-A984-DFEB-84DDAFE2B6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DBAC4D-9B9C-A253-E09E-08CDC89E2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7A88C-D68B-7E43-B6BD-8EAA306090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5731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quare photo 2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spiral&#10;&#10;Description automatically generated">
            <a:extLst>
              <a:ext uri="{FF2B5EF4-FFF2-40B4-BE49-F238E27FC236}">
                <a16:creationId xmlns:a16="http://schemas.microsoft.com/office/drawing/2014/main" id="{361D5F98-BDD8-425B-488B-22D9DCB80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8D8C93-A68F-427F-AC31-AE3104AD119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17984"/>
            <a:ext cx="7758903" cy="615553"/>
          </a:xfrm>
        </p:spPr>
        <p:txBody>
          <a:bodyPr wrap="square"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7752752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83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sky with white clouds&#10;&#10;AI-generated content may be incorrect.">
            <a:extLst>
              <a:ext uri="{FF2B5EF4-FFF2-40B4-BE49-F238E27FC236}">
                <a16:creationId xmlns:a16="http://schemas.microsoft.com/office/drawing/2014/main" id="{D06997A8-9B2A-B93C-F597-79B38162A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784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58B1CC-7E89-FC8B-DE61-81B2927808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rgbClr val="FFF8F3">
                <a:tint val="45000"/>
                <a:satMod val="400000"/>
              </a:srgbClr>
            </a:duotone>
          </a:blip>
          <a:srcRect t="7440" b="52893"/>
          <a:stretch/>
        </p:blipFill>
        <p:spPr>
          <a:xfrm>
            <a:off x="0" y="0"/>
            <a:ext cx="12191999" cy="6857999"/>
          </a:xfrm>
          <a:prstGeom prst="round2SameRect">
            <a:avLst>
              <a:gd name="adj1" fmla="val 0"/>
              <a:gd name="adj2" fmla="val 0"/>
            </a:avLst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617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527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curved object">
            <a:extLst>
              <a:ext uri="{FF2B5EF4-FFF2-40B4-BE49-F238E27FC236}">
                <a16:creationId xmlns:a16="http://schemas.microsoft.com/office/drawing/2014/main" id="{65978E02-7B42-4283-0732-A5ECD04C20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D9B2C81-3582-FD54-9197-2A2E6EA52FF9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365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07777"/>
          </a:xfrm>
        </p:spPr>
        <p:txBody>
          <a:bodyPr tIns="0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5222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cenario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96B9EA-FBFB-4858-13AE-0D3B6A1BFE98}"/>
              </a:ext>
            </a:extLst>
          </p:cNvPr>
          <p:cNvSpPr>
            <a:spLocks/>
          </p:cNvSpPr>
          <p:nvPr userDrawn="1"/>
        </p:nvSpPr>
        <p:spPr bwMode="auto">
          <a:xfrm>
            <a:off x="2179638" y="304726"/>
            <a:ext cx="4582191" cy="526298"/>
          </a:xfrm>
          <a:prstGeom prst="roundRect">
            <a:avLst/>
          </a:prstGeom>
          <a:solidFill>
            <a:srgbClr val="DDEEF8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54000" algn="ctr" rotWithShape="0">
              <a:schemeClr val="bg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14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0B21A-B692-149F-D60C-5E53B60E00B6}"/>
              </a:ext>
            </a:extLst>
          </p:cNvPr>
          <p:cNvSpPr txBox="1">
            <a:spLocks/>
          </p:cNvSpPr>
          <p:nvPr userDrawn="1"/>
        </p:nvSpPr>
        <p:spPr>
          <a:xfrm>
            <a:off x="0" y="304726"/>
            <a:ext cx="2431247" cy="526298"/>
          </a:xfrm>
          <a:custGeom>
            <a:avLst/>
            <a:gdLst>
              <a:gd name="connsiteX0" fmla="*/ 1993 w 2431247"/>
              <a:gd name="connsiteY0" fmla="*/ 0 h 526298"/>
              <a:gd name="connsiteX1" fmla="*/ 2338766 w 2431247"/>
              <a:gd name="connsiteY1" fmla="*/ 0 h 526298"/>
              <a:gd name="connsiteX2" fmla="*/ 2431247 w 2431247"/>
              <a:gd name="connsiteY2" fmla="*/ 92481 h 526298"/>
              <a:gd name="connsiteX3" fmla="*/ 2431247 w 2431247"/>
              <a:gd name="connsiteY3" fmla="*/ 433817 h 526298"/>
              <a:gd name="connsiteX4" fmla="*/ 2338766 w 2431247"/>
              <a:gd name="connsiteY4" fmla="*/ 526298 h 526298"/>
              <a:gd name="connsiteX5" fmla="*/ 1993 w 2431247"/>
              <a:gd name="connsiteY5" fmla="*/ 526298 h 526298"/>
              <a:gd name="connsiteX6" fmla="*/ 0 w 2431247"/>
              <a:gd name="connsiteY6" fmla="*/ 525896 h 526298"/>
              <a:gd name="connsiteX7" fmla="*/ 0 w 2431247"/>
              <a:gd name="connsiteY7" fmla="*/ 402 h 52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1247" h="526298">
                <a:moveTo>
                  <a:pt x="1993" y="0"/>
                </a:moveTo>
                <a:lnTo>
                  <a:pt x="2338766" y="0"/>
                </a:lnTo>
                <a:cubicBezTo>
                  <a:pt x="2389842" y="0"/>
                  <a:pt x="2431247" y="41405"/>
                  <a:pt x="2431247" y="92481"/>
                </a:cubicBezTo>
                <a:lnTo>
                  <a:pt x="2431247" y="433817"/>
                </a:lnTo>
                <a:cubicBezTo>
                  <a:pt x="2431247" y="484893"/>
                  <a:pt x="2389842" y="526298"/>
                  <a:pt x="2338766" y="526298"/>
                </a:cubicBezTo>
                <a:lnTo>
                  <a:pt x="1993" y="526298"/>
                </a:lnTo>
                <a:lnTo>
                  <a:pt x="0" y="525896"/>
                </a:lnTo>
                <a:lnTo>
                  <a:pt x="0" y="402"/>
                </a:lnTo>
                <a:close/>
              </a:path>
            </a:pathLst>
          </a:cu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vert="horz" wrap="square" lIns="310896" tIns="0" rIns="0" bIns="0" rtlCol="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b="1" i="0" kern="1200" spc="0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37" name="Step 5 Top">
            <a:extLst>
              <a:ext uri="{FF2B5EF4-FFF2-40B4-BE49-F238E27FC236}">
                <a16:creationId xmlns:a16="http://schemas.microsoft.com/office/drawing/2014/main" id="{6A995B05-0623-381A-BC20-075E020B55F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431246" cy="1131079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kumimoji="0" lang="en-US" sz="1050" b="0" i="0" u="none" strike="noStrike" kern="1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82157D41-F80D-AE68-F668-478CD741D47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413987"/>
            <a:ext cx="2057403" cy="307777"/>
          </a:xfrm>
        </p:spPr>
        <p:txBody>
          <a:bodyPr anchor="ctr"/>
          <a:lstStyle>
            <a:lvl1pPr marL="0" indent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895070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5" name="Level">
            <a:extLst>
              <a:ext uri="{FF2B5EF4-FFF2-40B4-BE49-F238E27FC236}">
                <a16:creationId xmlns:a16="http://schemas.microsoft.com/office/drawing/2014/main" id="{D78A2D53-01ED-9D74-9712-451C6F32148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0078D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Click to edit 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26798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Available with:</a:t>
            </a:r>
          </a:p>
        </p:txBody>
      </p:sp>
      <p:sp>
        <p:nvSpPr>
          <p:cNvPr id="103" name="Licenses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C03BC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789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12">
            <a:extLst>
              <a:ext uri="{FF2B5EF4-FFF2-40B4-BE49-F238E27FC236}">
                <a16:creationId xmlns:a16="http://schemas.microsoft.com/office/drawing/2014/main" id="{26B05CF8-4E6B-B8CC-5AA9-B8ED44639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 anchor="ctr"/>
          <a:lstStyle>
            <a:lvl1pPr>
              <a:defRPr lang="en-US" sz="18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</a:t>
            </a: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9C693E26-EC61-AEAC-C1C4-733CBC83CC4A}"/>
              </a:ext>
            </a:extLst>
          </p:cNvPr>
          <p:cNvSpPr>
            <a:spLocks/>
          </p:cNvSpPr>
          <p:nvPr userDrawn="1"/>
        </p:nvSpPr>
        <p:spPr bwMode="auto">
          <a:xfrm rot="16200000" flipV="1">
            <a:off x="6107793" y="-1681313"/>
            <a:ext cx="2612241" cy="8679949"/>
          </a:xfrm>
          <a:custGeom>
            <a:avLst/>
            <a:gdLst>
              <a:gd name="connsiteX0" fmla="*/ 163683 w 2612241"/>
              <a:gd name="connsiteY0" fmla="*/ 0 h 8666696"/>
              <a:gd name="connsiteX1" fmla="*/ 2448558 w 2612241"/>
              <a:gd name="connsiteY1" fmla="*/ 0 h 8666696"/>
              <a:gd name="connsiteX2" fmla="*/ 2612241 w 2612241"/>
              <a:gd name="connsiteY2" fmla="*/ 163683 h 8666696"/>
              <a:gd name="connsiteX3" fmla="*/ 2612241 w 2612241"/>
              <a:gd name="connsiteY3" fmla="*/ 8666696 h 8666696"/>
              <a:gd name="connsiteX4" fmla="*/ 2612241 w 2612241"/>
              <a:gd name="connsiteY4" fmla="*/ 8666696 h 8666696"/>
              <a:gd name="connsiteX5" fmla="*/ 0 w 2612241"/>
              <a:gd name="connsiteY5" fmla="*/ 8666696 h 8666696"/>
              <a:gd name="connsiteX6" fmla="*/ 0 w 2612241"/>
              <a:gd name="connsiteY6" fmla="*/ 8666696 h 8666696"/>
              <a:gd name="connsiteX7" fmla="*/ 0 w 2612241"/>
              <a:gd name="connsiteY7" fmla="*/ 163683 h 8666696"/>
              <a:gd name="connsiteX8" fmla="*/ 163683 w 2612241"/>
              <a:gd name="connsiteY8" fmla="*/ 0 h 8666696"/>
              <a:gd name="connsiteX0" fmla="*/ 0 w 2612241"/>
              <a:gd name="connsiteY0" fmla="*/ 8666696 h 8758136"/>
              <a:gd name="connsiteX1" fmla="*/ 0 w 2612241"/>
              <a:gd name="connsiteY1" fmla="*/ 163683 h 8758136"/>
              <a:gd name="connsiteX2" fmla="*/ 163683 w 2612241"/>
              <a:gd name="connsiteY2" fmla="*/ 0 h 8758136"/>
              <a:gd name="connsiteX3" fmla="*/ 2448558 w 2612241"/>
              <a:gd name="connsiteY3" fmla="*/ 0 h 8758136"/>
              <a:gd name="connsiteX4" fmla="*/ 2612241 w 2612241"/>
              <a:gd name="connsiteY4" fmla="*/ 163683 h 8758136"/>
              <a:gd name="connsiteX5" fmla="*/ 2612241 w 2612241"/>
              <a:gd name="connsiteY5" fmla="*/ 8666696 h 8758136"/>
              <a:gd name="connsiteX6" fmla="*/ 2612241 w 2612241"/>
              <a:gd name="connsiteY6" fmla="*/ 8666696 h 8758136"/>
              <a:gd name="connsiteX7" fmla="*/ 0 w 2612241"/>
              <a:gd name="connsiteY7" fmla="*/ 8666696 h 8758136"/>
              <a:gd name="connsiteX8" fmla="*/ 91440 w 2612241"/>
              <a:gd name="connsiteY8" fmla="*/ 8758136 h 875813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  <a:gd name="connsiteX7" fmla="*/ 0 w 2612241"/>
              <a:gd name="connsiteY7" fmla="*/ 8666696 h 866669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241" h="8666696">
                <a:moveTo>
                  <a:pt x="0" y="8666696"/>
                </a:moveTo>
                <a:lnTo>
                  <a:pt x="0" y="163683"/>
                </a:lnTo>
                <a:cubicBezTo>
                  <a:pt x="0" y="73283"/>
                  <a:pt x="73283" y="0"/>
                  <a:pt x="163683" y="0"/>
                </a:cubicBezTo>
                <a:lnTo>
                  <a:pt x="2448558" y="0"/>
                </a:lnTo>
                <a:cubicBezTo>
                  <a:pt x="2538958" y="0"/>
                  <a:pt x="2612241" y="73283"/>
                  <a:pt x="2612241" y="163683"/>
                </a:cubicBezTo>
                <a:lnTo>
                  <a:pt x="2612241" y="8666696"/>
                </a:lnTo>
                <a:lnTo>
                  <a:pt x="2612241" y="8666696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1620000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8467A5F-7BA2-6E3A-1EFE-31FAA4F5B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05591" y="1247214"/>
            <a:ext cx="210652" cy="210652"/>
            <a:chOff x="5214995" y="-1168400"/>
            <a:chExt cx="431800" cy="43180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514AE07-2437-886C-64BF-90FCDB18900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47" name="Rectangle 89">
              <a:extLst>
                <a:ext uri="{FF2B5EF4-FFF2-40B4-BE49-F238E27FC236}">
                  <a16:creationId xmlns:a16="http://schemas.microsoft.com/office/drawing/2014/main" id="{F1304105-F302-1DA2-7A52-41BBBCC44EED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C32FE7B-F07D-C499-EA83-97D8A5B9D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89384" y="1247214"/>
            <a:ext cx="210652" cy="210652"/>
            <a:chOff x="5214995" y="-1168400"/>
            <a:chExt cx="431800" cy="431800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D7ABAD2-6246-A1F3-5E86-044B3D8C3074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59" name="Rectangle 89">
              <a:extLst>
                <a:ext uri="{FF2B5EF4-FFF2-40B4-BE49-F238E27FC236}">
                  <a16:creationId xmlns:a16="http://schemas.microsoft.com/office/drawing/2014/main" id="{0E6F2315-5317-6C1E-5DF8-4BE9FE7C7CA6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B13FA4-84C5-6F46-C1BB-22875F9B2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11648565" y="3486389"/>
            <a:ext cx="210652" cy="210652"/>
            <a:chOff x="5214995" y="-1168400"/>
            <a:chExt cx="431800" cy="4318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7D4A430-8084-5075-B04A-2E8CDD118B76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2" name="Rectangle 89">
              <a:extLst>
                <a:ext uri="{FF2B5EF4-FFF2-40B4-BE49-F238E27FC236}">
                  <a16:creationId xmlns:a16="http://schemas.microsoft.com/office/drawing/2014/main" id="{ABE5358E-92F9-96A5-6FDB-150E91A8AF78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FFD46EF-67A1-2B45-C906-05C4ACC2D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5805591" y="3859456"/>
            <a:ext cx="210652" cy="210652"/>
            <a:chOff x="5214995" y="-1168400"/>
            <a:chExt cx="431800" cy="4318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4ED043E-EA90-195B-771E-CE53479D2BC8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5" name="Rectangle 89">
              <a:extLst>
                <a:ext uri="{FF2B5EF4-FFF2-40B4-BE49-F238E27FC236}">
                  <a16:creationId xmlns:a16="http://schemas.microsoft.com/office/drawing/2014/main" id="{3853106D-E38A-371E-B378-89F7601572D3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B2872BD-57A1-5A98-BBEC-120407B23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8689384" y="3859456"/>
            <a:ext cx="210652" cy="210652"/>
            <a:chOff x="5214995" y="-1168400"/>
            <a:chExt cx="431800" cy="4318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C271353-C79B-E3BF-32F5-48C1A526FF0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9" name="Rectangle 89">
              <a:extLst>
                <a:ext uri="{FF2B5EF4-FFF2-40B4-BE49-F238E27FC236}">
                  <a16:creationId xmlns:a16="http://schemas.microsoft.com/office/drawing/2014/main" id="{B93F1E4A-9BA7-C4D0-83D8-2451A1DEAD80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977582E-F97B-70B5-CB03-F46869F849CD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890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81" name="Step 1 Title">
            <a:extLst>
              <a:ext uri="{FF2B5EF4-FFF2-40B4-BE49-F238E27FC236}">
                <a16:creationId xmlns:a16="http://schemas.microsoft.com/office/drawing/2014/main" id="{7E33DF77-DD28-CC24-9FC2-0AD434BCF4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Step 1 Top">
            <a:extLst>
              <a:ext uri="{FF2B5EF4-FFF2-40B4-BE49-F238E27FC236}">
                <a16:creationId xmlns:a16="http://schemas.microsoft.com/office/drawing/2014/main" id="{4B00355E-1235-20E9-A051-604C9CFEC8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90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Step 1 Title">
            <a:extLst>
              <a:ext uri="{FF2B5EF4-FFF2-40B4-BE49-F238E27FC236}">
                <a16:creationId xmlns:a16="http://schemas.microsoft.com/office/drawing/2014/main" id="{2F0B0E91-BF30-3362-2F5C-B3C5D2B134A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2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Step 1 Top">
            <a:extLst>
              <a:ext uri="{FF2B5EF4-FFF2-40B4-BE49-F238E27FC236}">
                <a16:creationId xmlns:a16="http://schemas.microsoft.com/office/drawing/2014/main" id="{4F227FB4-9BBF-2C43-E0ED-95EC51590A0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3075CE-083E-DACE-75B9-DDCB2E43755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475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93" name="Step 1 Title">
            <a:extLst>
              <a:ext uri="{FF2B5EF4-FFF2-40B4-BE49-F238E27FC236}">
                <a16:creationId xmlns:a16="http://schemas.microsoft.com/office/drawing/2014/main" id="{78B57A65-16AE-5996-C81D-89A1171052D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3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Step 1 Top">
            <a:extLst>
              <a:ext uri="{FF2B5EF4-FFF2-40B4-BE49-F238E27FC236}">
                <a16:creationId xmlns:a16="http://schemas.microsoft.com/office/drawing/2014/main" id="{6B743263-A0E0-B08F-8640-1A6F2A47401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5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E828537-77ED-661B-164D-7972C8F2B3C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6682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B7B6A3B2-F891-96DB-EDD6-15440AF2E8C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04" name="Step 1 Title">
            <a:extLst>
              <a:ext uri="{FF2B5EF4-FFF2-40B4-BE49-F238E27FC236}">
                <a16:creationId xmlns:a16="http://schemas.microsoft.com/office/drawing/2014/main" id="{0F93BF10-EBCF-85EF-D1B2-A7563451D76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6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Step 1 Top">
            <a:extLst>
              <a:ext uri="{FF2B5EF4-FFF2-40B4-BE49-F238E27FC236}">
                <a16:creationId xmlns:a16="http://schemas.microsoft.com/office/drawing/2014/main" id="{C1C2FA4E-D061-ECCE-C8BB-24C647D6010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Step 1 Title">
            <a:extLst>
              <a:ext uri="{FF2B5EF4-FFF2-40B4-BE49-F238E27FC236}">
                <a16:creationId xmlns:a16="http://schemas.microsoft.com/office/drawing/2014/main" id="{9CB910C7-53F5-CD35-F7B3-ED8F5DD4F6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5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0" name="Step 1 Top">
            <a:extLst>
              <a:ext uri="{FF2B5EF4-FFF2-40B4-BE49-F238E27FC236}">
                <a16:creationId xmlns:a16="http://schemas.microsoft.com/office/drawing/2014/main" id="{E81FD2D6-1B95-AE76-667E-A7ADD3CD3A5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9D255C6-A463-0E1B-EFD1-0675518123E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475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22" name="Step 1 Title">
            <a:extLst>
              <a:ext uri="{FF2B5EF4-FFF2-40B4-BE49-F238E27FC236}">
                <a16:creationId xmlns:a16="http://schemas.microsoft.com/office/drawing/2014/main" id="{A1FCE115-20B6-1C4D-4833-053AE41AEBD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4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3" name="Step 1 Top">
            <a:extLst>
              <a:ext uri="{FF2B5EF4-FFF2-40B4-BE49-F238E27FC236}">
                <a16:creationId xmlns:a16="http://schemas.microsoft.com/office/drawing/2014/main" id="{3D5F63B4-9275-D6B7-3A0E-699C0C868EA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9AEFB6C2-AB19-3A46-843C-CF95D15344C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6682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7" name="Footnote">
            <a:extLst>
              <a:ext uri="{FF2B5EF4-FFF2-40B4-BE49-F238E27FC236}">
                <a16:creationId xmlns:a16="http://schemas.microsoft.com/office/drawing/2014/main" id="{AC05EA29-0447-0506-FB1B-E11117B0DF2E}"/>
              </a:ext>
            </a:extLst>
          </p:cNvPr>
          <p:cNvSpPr txBox="1">
            <a:spLocks/>
          </p:cNvSpPr>
          <p:nvPr userDrawn="1"/>
        </p:nvSpPr>
        <p:spPr>
          <a:xfrm>
            <a:off x="320040" y="6309360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1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or the Microsoft 365 Copilot Chat mobile app and set toggle to “Web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the Microsoft 365 Copilot Chat mobile app, or the M365 Copilot Chat app in Teams, and set toggle to “Work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I Agents allow Copilot to access your organization-specific apps. In the past this would have required an API call to get data from a system of record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1FD8182-9192-3293-3C25-613D50894B8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 w="12700">
            <a:solidFill>
              <a:srgbClr val="C03BC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DD81CAF3-1B44-C8D0-3BB0-F3DD087633F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 w="12700">
            <a:solidFill>
              <a:srgbClr val="0078D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2458303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0">
          <p15:clr>
            <a:srgbClr val="A4A3A4"/>
          </p15:clr>
        </p15:guide>
        <p15:guide id="8" pos="1368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36">
          <p15:clr>
            <a:srgbClr val="A4A3A4"/>
          </p15:clr>
        </p15:guide>
        <p15:guide id="14" pos="3168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cenario five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4A1448-F8D7-EA0F-E466-136E038AA3F1}"/>
              </a:ext>
            </a:extLst>
          </p:cNvPr>
          <p:cNvCxnSpPr>
            <a:cxnSpLocks/>
          </p:cNvCxnSpPr>
          <p:nvPr userDrawn="1"/>
        </p:nvCxnSpPr>
        <p:spPr>
          <a:xfrm>
            <a:off x="3182889" y="1352539"/>
            <a:ext cx="8339848" cy="0"/>
          </a:xfrm>
          <a:prstGeom prst="line">
            <a:avLst/>
          </a:pr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1620000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C6C3234-D3F7-EB91-19FC-3FF3921A6EF7}"/>
              </a:ext>
            </a:extLst>
          </p:cNvPr>
          <p:cNvSpPr>
            <a:spLocks/>
          </p:cNvSpPr>
          <p:nvPr userDrawn="1"/>
        </p:nvSpPr>
        <p:spPr bwMode="auto">
          <a:xfrm>
            <a:off x="2179638" y="304726"/>
            <a:ext cx="4582191" cy="526298"/>
          </a:xfrm>
          <a:prstGeom prst="roundRect">
            <a:avLst/>
          </a:prstGeom>
          <a:solidFill>
            <a:srgbClr val="DDEEF8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54000" algn="ctr" rotWithShape="0">
              <a:schemeClr val="bg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14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489450-2B99-F45D-B0AD-1BD8CA42038B}"/>
              </a:ext>
            </a:extLst>
          </p:cNvPr>
          <p:cNvSpPr txBox="1">
            <a:spLocks/>
          </p:cNvSpPr>
          <p:nvPr userDrawn="1"/>
        </p:nvSpPr>
        <p:spPr>
          <a:xfrm>
            <a:off x="0" y="304726"/>
            <a:ext cx="2431247" cy="526298"/>
          </a:xfrm>
          <a:custGeom>
            <a:avLst/>
            <a:gdLst>
              <a:gd name="connsiteX0" fmla="*/ 1993 w 2431247"/>
              <a:gd name="connsiteY0" fmla="*/ 0 h 526298"/>
              <a:gd name="connsiteX1" fmla="*/ 2338766 w 2431247"/>
              <a:gd name="connsiteY1" fmla="*/ 0 h 526298"/>
              <a:gd name="connsiteX2" fmla="*/ 2431247 w 2431247"/>
              <a:gd name="connsiteY2" fmla="*/ 92481 h 526298"/>
              <a:gd name="connsiteX3" fmla="*/ 2431247 w 2431247"/>
              <a:gd name="connsiteY3" fmla="*/ 433817 h 526298"/>
              <a:gd name="connsiteX4" fmla="*/ 2338766 w 2431247"/>
              <a:gd name="connsiteY4" fmla="*/ 526298 h 526298"/>
              <a:gd name="connsiteX5" fmla="*/ 1993 w 2431247"/>
              <a:gd name="connsiteY5" fmla="*/ 526298 h 526298"/>
              <a:gd name="connsiteX6" fmla="*/ 0 w 2431247"/>
              <a:gd name="connsiteY6" fmla="*/ 525896 h 526298"/>
              <a:gd name="connsiteX7" fmla="*/ 0 w 2431247"/>
              <a:gd name="connsiteY7" fmla="*/ 402 h 52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1247" h="526298">
                <a:moveTo>
                  <a:pt x="1993" y="0"/>
                </a:moveTo>
                <a:lnTo>
                  <a:pt x="2338766" y="0"/>
                </a:lnTo>
                <a:cubicBezTo>
                  <a:pt x="2389842" y="0"/>
                  <a:pt x="2431247" y="41405"/>
                  <a:pt x="2431247" y="92481"/>
                </a:cubicBezTo>
                <a:lnTo>
                  <a:pt x="2431247" y="433817"/>
                </a:lnTo>
                <a:cubicBezTo>
                  <a:pt x="2431247" y="484893"/>
                  <a:pt x="2389842" y="526298"/>
                  <a:pt x="2338766" y="526298"/>
                </a:cubicBezTo>
                <a:lnTo>
                  <a:pt x="1993" y="526298"/>
                </a:lnTo>
                <a:lnTo>
                  <a:pt x="0" y="525896"/>
                </a:lnTo>
                <a:lnTo>
                  <a:pt x="0" y="402"/>
                </a:lnTo>
                <a:close/>
              </a:path>
            </a:pathLst>
          </a:cu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vert="horz" wrap="square" lIns="310896" tIns="0" rIns="0" bIns="0" rtlCol="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b="1" i="0" kern="1200" spc="0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71" name="Scenario Level">
            <a:extLst>
              <a:ext uri="{FF2B5EF4-FFF2-40B4-BE49-F238E27FC236}">
                <a16:creationId xmlns:a16="http://schemas.microsoft.com/office/drawing/2014/main" id="{5C914349-B5B3-D703-EE31-78482DD3DAA9}"/>
              </a:ext>
            </a:extLst>
          </p:cNvPr>
          <p:cNvSpPr txBox="1"/>
          <p:nvPr userDrawn="1"/>
        </p:nvSpPr>
        <p:spPr>
          <a:xfrm>
            <a:off x="10895070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73" name="Available with">
            <a:extLst>
              <a:ext uri="{FF2B5EF4-FFF2-40B4-BE49-F238E27FC236}">
                <a16:creationId xmlns:a16="http://schemas.microsoft.com/office/drawing/2014/main" id="{1E59605F-F04E-58C0-102B-28C6AFF01B7D}"/>
              </a:ext>
            </a:extLst>
          </p:cNvPr>
          <p:cNvSpPr txBox="1"/>
          <p:nvPr userDrawn="1"/>
        </p:nvSpPr>
        <p:spPr>
          <a:xfrm>
            <a:off x="9126798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Available with: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84F79FD-8FB8-5727-A3FB-9193B8AF441D}"/>
              </a:ext>
            </a:extLst>
          </p:cNvPr>
          <p:cNvCxnSpPr/>
          <p:nvPr userDrawn="1"/>
        </p:nvCxnSpPr>
        <p:spPr>
          <a:xfrm>
            <a:off x="10357789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CD8F809-3EF5-43AD-9927-8D87766BB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05591" y="1247214"/>
            <a:ext cx="210652" cy="210652"/>
            <a:chOff x="5214995" y="-1168400"/>
            <a:chExt cx="431800" cy="4318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D95EE76-3BB3-5D96-1162-650D8265E79B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81" name="Rectangle 89">
              <a:extLst>
                <a:ext uri="{FF2B5EF4-FFF2-40B4-BE49-F238E27FC236}">
                  <a16:creationId xmlns:a16="http://schemas.microsoft.com/office/drawing/2014/main" id="{C479534D-98FF-6F65-ECCB-79C6294552EA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684A0D0-9EC4-FC0C-B023-76950C80DF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89384" y="1247214"/>
            <a:ext cx="210652" cy="210652"/>
            <a:chOff x="5214995" y="-1168400"/>
            <a:chExt cx="431800" cy="4318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C82D2312-1888-7E4C-63E7-F0B9A0902E6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85" name="Rectangle 89">
              <a:extLst>
                <a:ext uri="{FF2B5EF4-FFF2-40B4-BE49-F238E27FC236}">
                  <a16:creationId xmlns:a16="http://schemas.microsoft.com/office/drawing/2014/main" id="{E1424AAE-0B41-949F-3E6D-9A5D7323D7DB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37120404-23B9-B744-0816-1D0C351C9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/>
          <a:lstStyle>
            <a:lvl1pPr>
              <a:defRPr lang="en-IN" sz="1800" kern="1200" spc="-50" baseline="0" dirty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Text Placeholder 70">
            <a:extLst>
              <a:ext uri="{FF2B5EF4-FFF2-40B4-BE49-F238E27FC236}">
                <a16:creationId xmlns:a16="http://schemas.microsoft.com/office/drawing/2014/main" id="{BECC6E1E-CB20-24F2-9CE6-B77C08524D0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413987"/>
            <a:ext cx="1941119" cy="307777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000" spc="-50" baseline="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4" name="Licenses">
            <a:extLst>
              <a:ext uri="{FF2B5EF4-FFF2-40B4-BE49-F238E27FC236}">
                <a16:creationId xmlns:a16="http://schemas.microsoft.com/office/drawing/2014/main" id="{E442F0DF-3967-354D-A17D-A2229F6B3036}"/>
              </a:ext>
            </a:extLst>
          </p:cNvPr>
          <p:cNvSpPr>
            <a:spLocks noGrp="1"/>
          </p:cNvSpPr>
          <p:nvPr userDrawn="1">
            <p:ph type="body" sz="quarter" idx="44"/>
          </p:nvPr>
        </p:nvSpPr>
        <p:spPr>
          <a:xfrm>
            <a:off x="7149557" y="521100"/>
            <a:ext cx="2969488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0" baseline="0">
                <a:solidFill>
                  <a:srgbClr val="C03BC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2" name="Level">
            <a:extLst>
              <a:ext uri="{FF2B5EF4-FFF2-40B4-BE49-F238E27FC236}">
                <a16:creationId xmlns:a16="http://schemas.microsoft.com/office/drawing/2014/main" id="{0CD96223-5C6F-D226-0888-B8E8522B7793}"/>
              </a:ext>
            </a:extLst>
          </p:cNvPr>
          <p:cNvSpPr>
            <a:spLocks noGrp="1"/>
          </p:cNvSpPr>
          <p:nvPr userDrawn="1">
            <p:ph type="body" sz="quarter" idx="43"/>
          </p:nvPr>
        </p:nvSpPr>
        <p:spPr>
          <a:xfrm>
            <a:off x="10430351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0" baseline="0">
                <a:solidFill>
                  <a:srgbClr val="0078D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Click to edit</a:t>
            </a:r>
          </a:p>
        </p:txBody>
      </p:sp>
      <p:sp>
        <p:nvSpPr>
          <p:cNvPr id="14" name="Step 5 Top">
            <a:extLst>
              <a:ext uri="{FF2B5EF4-FFF2-40B4-BE49-F238E27FC236}">
                <a16:creationId xmlns:a16="http://schemas.microsoft.com/office/drawing/2014/main" id="{5F6FC536-93D3-A645-6321-E19971F6F7A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11388" y="1026303"/>
            <a:ext cx="2431246" cy="1131079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kumimoji="0" lang="en-US" sz="1050" b="0" i="0" u="none" strike="noStrike" kern="1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3" name="Text Placeholder 8">
            <a:extLst>
              <a:ext uri="{FF2B5EF4-FFF2-40B4-BE49-F238E27FC236}">
                <a16:creationId xmlns:a16="http://schemas.microsoft.com/office/drawing/2014/main" id="{20290FDF-B386-A402-3F54-8F38D89E3855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 w="12700">
            <a:solidFill>
              <a:srgbClr val="0078D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52" name="Text Placeholder 8">
            <a:extLst>
              <a:ext uri="{FF2B5EF4-FFF2-40B4-BE49-F238E27FC236}">
                <a16:creationId xmlns:a16="http://schemas.microsoft.com/office/drawing/2014/main" id="{CC259F50-FF88-8A52-A7A2-B916E54D0007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 w="12700">
            <a:solidFill>
              <a:srgbClr val="C03BC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4" name="Step 1 Title">
            <a:extLst>
              <a:ext uri="{FF2B5EF4-FFF2-40B4-BE49-F238E27FC236}">
                <a16:creationId xmlns:a16="http://schemas.microsoft.com/office/drawing/2014/main" id="{AAECE90F-E2FD-C50D-2380-5A623E6E68CC}"/>
              </a:ext>
            </a:extLst>
          </p:cNvPr>
          <p:cNvSpPr>
            <a:spLocks noGrp="1"/>
          </p:cNvSpPr>
          <p:nvPr userDrawn="1">
            <p:ph type="body" sz="quarter" idx="47"/>
          </p:nvPr>
        </p:nvSpPr>
        <p:spPr>
          <a:xfrm>
            <a:off x="3182890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0" name="Step 1 Top">
            <a:extLst>
              <a:ext uri="{FF2B5EF4-FFF2-40B4-BE49-F238E27FC236}">
                <a16:creationId xmlns:a16="http://schemas.microsoft.com/office/drawing/2014/main" id="{A10522D6-287E-CAF9-7877-202543AC084D}"/>
              </a:ext>
            </a:extLst>
          </p:cNvPr>
          <p:cNvSpPr>
            <a:spLocks noGrp="1"/>
          </p:cNvSpPr>
          <p:nvPr userDrawn="1">
            <p:ph type="body" sz="quarter" idx="48"/>
          </p:nvPr>
        </p:nvSpPr>
        <p:spPr>
          <a:xfrm>
            <a:off x="3182890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899216D1-14EF-7DC6-A6A8-3649535AF5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182889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14" name="Step 1 Title">
            <a:extLst>
              <a:ext uri="{FF2B5EF4-FFF2-40B4-BE49-F238E27FC236}">
                <a16:creationId xmlns:a16="http://schemas.microsoft.com/office/drawing/2014/main" id="{AFF8CAD5-73C9-15E8-C15B-5669E59EDF22}"/>
              </a:ext>
            </a:extLst>
          </p:cNvPr>
          <p:cNvSpPr>
            <a:spLocks noGrp="1"/>
          </p:cNvSpPr>
          <p:nvPr userDrawn="1">
            <p:ph type="body" sz="quarter" idx="49"/>
          </p:nvPr>
        </p:nvSpPr>
        <p:spPr>
          <a:xfrm>
            <a:off x="6066682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2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Step 1 Top">
            <a:extLst>
              <a:ext uri="{FF2B5EF4-FFF2-40B4-BE49-F238E27FC236}">
                <a16:creationId xmlns:a16="http://schemas.microsoft.com/office/drawing/2014/main" id="{CBBB447E-62C7-3EE8-58FD-A63BA4091DC2}"/>
              </a:ext>
            </a:extLst>
          </p:cNvPr>
          <p:cNvSpPr>
            <a:spLocks noGrp="1"/>
          </p:cNvSpPr>
          <p:nvPr userDrawn="1">
            <p:ph type="body" sz="quarter" idx="50"/>
          </p:nvPr>
        </p:nvSpPr>
        <p:spPr>
          <a:xfrm>
            <a:off x="6066682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6E7EFF7-AB37-8C10-0D72-C219A327442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066682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27" name="Step 1 Title">
            <a:extLst>
              <a:ext uri="{FF2B5EF4-FFF2-40B4-BE49-F238E27FC236}">
                <a16:creationId xmlns:a16="http://schemas.microsoft.com/office/drawing/2014/main" id="{DC3628C0-ED08-9682-4738-5B06F7C21C56}"/>
              </a:ext>
            </a:extLst>
          </p:cNvPr>
          <p:cNvSpPr>
            <a:spLocks noGrp="1"/>
          </p:cNvSpPr>
          <p:nvPr userDrawn="1">
            <p:ph type="body" sz="quarter" idx="52"/>
          </p:nvPr>
        </p:nvSpPr>
        <p:spPr>
          <a:xfrm>
            <a:off x="8950475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3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8" name="Step 1 Top">
            <a:extLst>
              <a:ext uri="{FF2B5EF4-FFF2-40B4-BE49-F238E27FC236}">
                <a16:creationId xmlns:a16="http://schemas.microsoft.com/office/drawing/2014/main" id="{E91EBCF2-F3C6-3640-61AD-0C42AE3B6C92}"/>
              </a:ext>
            </a:extLst>
          </p:cNvPr>
          <p:cNvSpPr>
            <a:spLocks noGrp="1"/>
          </p:cNvSpPr>
          <p:nvPr userDrawn="1">
            <p:ph type="body" sz="quarter" idx="53"/>
          </p:nvPr>
        </p:nvSpPr>
        <p:spPr>
          <a:xfrm>
            <a:off x="8950475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6820393F-A448-2E4C-089D-807F9DC2A07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8950475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 algn="l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45" name="Footnote">
            <a:extLst>
              <a:ext uri="{FF2B5EF4-FFF2-40B4-BE49-F238E27FC236}">
                <a16:creationId xmlns:a16="http://schemas.microsoft.com/office/drawing/2014/main" id="{EFC765AC-7584-A8D3-1059-43D998733533}"/>
              </a:ext>
            </a:extLst>
          </p:cNvPr>
          <p:cNvSpPr txBox="1">
            <a:spLocks/>
          </p:cNvSpPr>
          <p:nvPr userDrawn="1"/>
        </p:nvSpPr>
        <p:spPr>
          <a:xfrm>
            <a:off x="320040" y="6309360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1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or the Microsoft 365 Copilot Chat mobile app and set toggle to “Web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the Microsoft 365 Copilot Chat mobile app, or the M365 Copilot Chat app in Teams, and set toggle to “Work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I Agents allow Copilot to access your organization-specific apps. In the past this would have required an API call to get data from a system of record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</p:spTree>
    <p:extLst>
      <p:ext uri="{BB962C8B-B14F-4D97-AF65-F5344CB8AC3E}">
        <p14:creationId xmlns:p14="http://schemas.microsoft.com/office/powerpoint/2010/main" val="2387834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8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60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4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888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in the life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87766"/>
            <a:ext cx="5672544" cy="526298"/>
          </a:xfrm>
        </p:spPr>
        <p:txBody>
          <a:bodyPr tIns="0"/>
          <a:lstStyle>
            <a:lvl1pPr>
              <a:lnSpc>
                <a:spcPct val="95000"/>
              </a:lnSpc>
              <a:defRPr sz="18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; can be up to two lines long; 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955436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3" name="Level">
            <a:extLst>
              <a:ext uri="{FF2B5EF4-FFF2-40B4-BE49-F238E27FC236}">
                <a16:creationId xmlns:a16="http://schemas.microsoft.com/office/drawing/2014/main" id="{78D71A05-3479-3DEB-1227-2FC98983A8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430234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Buy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87165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Available with: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672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License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19107" y="521099"/>
            <a:ext cx="3599821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C03BC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Microsoft 365 Copilot</a:t>
            </a:r>
          </a:p>
        </p:txBody>
      </p:sp>
      <p:sp>
        <p:nvSpPr>
          <p:cNvPr id="119" name="Freeform: Shape 2">
            <a:extLst>
              <a:ext uri="{FF2B5EF4-FFF2-40B4-BE49-F238E27FC236}">
                <a16:creationId xmlns:a16="http://schemas.microsoft.com/office/drawing/2014/main" id="{DFCC0CE5-9BBF-33A2-43D3-99555654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1" y="1857513"/>
            <a:ext cx="10010265" cy="2453282"/>
          </a:xfrm>
          <a:custGeom>
            <a:avLst/>
            <a:gdLst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  <a:gd name="connsiteX0" fmla="*/ 25400 w 9096375"/>
              <a:gd name="connsiteY0" fmla="*/ 0 h 2491048"/>
              <a:gd name="connsiteX1" fmla="*/ 8875992 w 9096375"/>
              <a:gd name="connsiteY1" fmla="*/ 0 h 2491048"/>
              <a:gd name="connsiteX2" fmla="*/ 9096375 w 9096375"/>
              <a:gd name="connsiteY2" fmla="*/ 220383 h 2491048"/>
              <a:gd name="connsiteX3" fmla="*/ 9096375 w 9096375"/>
              <a:gd name="connsiteY3" fmla="*/ 2270665 h 2491048"/>
              <a:gd name="connsiteX4" fmla="*/ 8875992 w 9096375"/>
              <a:gd name="connsiteY4" fmla="*/ 2491048 h 2491048"/>
              <a:gd name="connsiteX5" fmla="*/ 25400 w 9096375"/>
              <a:gd name="connsiteY5" fmla="*/ 2491048 h 2491048"/>
              <a:gd name="connsiteX6" fmla="*/ 0 w 9096375"/>
              <a:gd name="connsiteY6" fmla="*/ 1182948 h 2491048"/>
              <a:gd name="connsiteX7" fmla="*/ 25400 w 9096375"/>
              <a:gd name="connsiteY7" fmla="*/ 0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7" fmla="*/ 91440 w 9096375"/>
              <a:gd name="connsiteY7" fmla="*/ 1274388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70975" h="2491048">
                <a:moveTo>
                  <a:pt x="0" y="0"/>
                </a:moveTo>
                <a:lnTo>
                  <a:pt x="8850592" y="0"/>
                </a:lnTo>
                <a:cubicBezTo>
                  <a:pt x="8972306" y="0"/>
                  <a:pt x="9070975" y="98669"/>
                  <a:pt x="9070975" y="220383"/>
                </a:cubicBezTo>
                <a:lnTo>
                  <a:pt x="9070975" y="2270665"/>
                </a:lnTo>
                <a:cubicBezTo>
                  <a:pt x="9070975" y="2392379"/>
                  <a:pt x="8972306" y="2491048"/>
                  <a:pt x="8850592" y="2491048"/>
                </a:cubicBezTo>
                <a:lnTo>
                  <a:pt x="0" y="2491048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3E1CBA9-BB11-EF2E-649E-27B49E82FE86}"/>
              </a:ext>
            </a:extLst>
          </p:cNvPr>
          <p:cNvGrpSpPr/>
          <p:nvPr userDrawn="1"/>
        </p:nvGrpSpPr>
        <p:grpSpPr>
          <a:xfrm>
            <a:off x="3476832" y="1793093"/>
            <a:ext cx="166152" cy="166152"/>
            <a:chOff x="5214995" y="-1168400"/>
            <a:chExt cx="431800" cy="431800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54C8AC7-0DF2-A7B4-59BC-354BDE9A823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9" name="Rectangle 89">
              <a:extLst>
                <a:ext uri="{FF2B5EF4-FFF2-40B4-BE49-F238E27FC236}">
                  <a16:creationId xmlns:a16="http://schemas.microsoft.com/office/drawing/2014/main" id="{F0376496-3125-ED18-7608-C142A0C35F3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3D3E10AB-B82F-F7E8-A33D-8AF61C784420}"/>
              </a:ext>
            </a:extLst>
          </p:cNvPr>
          <p:cNvGrpSpPr/>
          <p:nvPr userDrawn="1"/>
        </p:nvGrpSpPr>
        <p:grpSpPr>
          <a:xfrm>
            <a:off x="6669529" y="1793093"/>
            <a:ext cx="166152" cy="166152"/>
            <a:chOff x="5214995" y="-1168400"/>
            <a:chExt cx="431800" cy="431800"/>
          </a:xfrm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CC526CF7-4F8D-6DB9-E3E9-2381E7AFAF4A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2" name="Rectangle 89">
              <a:extLst>
                <a:ext uri="{FF2B5EF4-FFF2-40B4-BE49-F238E27FC236}">
                  <a16:creationId xmlns:a16="http://schemas.microsoft.com/office/drawing/2014/main" id="{63E3BD4D-8045-49DC-2041-46643AE5ED02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816F1C59-4D7D-3BDD-0560-654E11A9B15E}"/>
              </a:ext>
            </a:extLst>
          </p:cNvPr>
          <p:cNvGrpSpPr/>
          <p:nvPr userDrawn="1"/>
        </p:nvGrpSpPr>
        <p:grpSpPr>
          <a:xfrm flipH="1">
            <a:off x="3476832" y="4248344"/>
            <a:ext cx="166152" cy="166152"/>
            <a:chOff x="5214995" y="-1168400"/>
            <a:chExt cx="431800" cy="431800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A0C410FC-F149-F1FA-B620-BF7F0EDE7D6C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5" name="Rectangle 89">
              <a:extLst>
                <a:ext uri="{FF2B5EF4-FFF2-40B4-BE49-F238E27FC236}">
                  <a16:creationId xmlns:a16="http://schemas.microsoft.com/office/drawing/2014/main" id="{5B5C9B65-59ED-2529-1E53-C9ABE9CB79FD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28DAF83D-E0BD-BE8E-ECEC-5E5EDE3E6C74}"/>
              </a:ext>
            </a:extLst>
          </p:cNvPr>
          <p:cNvGrpSpPr/>
          <p:nvPr userDrawn="1"/>
        </p:nvGrpSpPr>
        <p:grpSpPr>
          <a:xfrm flipH="1">
            <a:off x="6669529" y="4248344"/>
            <a:ext cx="166152" cy="166152"/>
            <a:chOff x="5214995" y="-1168400"/>
            <a:chExt cx="431800" cy="431800"/>
          </a:xfrm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2CC39567-C008-3C38-03DA-28EE0BE7483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8" name="Rectangle 89">
              <a:extLst>
                <a:ext uri="{FF2B5EF4-FFF2-40B4-BE49-F238E27FC236}">
                  <a16:creationId xmlns:a16="http://schemas.microsoft.com/office/drawing/2014/main" id="{99B2574B-7594-72E2-E826-4D4DA471A11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60DF7C5-E7F6-A90D-706C-6592ECDDB338}"/>
              </a:ext>
            </a:extLst>
          </p:cNvPr>
          <p:cNvGrpSpPr/>
          <p:nvPr userDrawn="1"/>
        </p:nvGrpSpPr>
        <p:grpSpPr>
          <a:xfrm rot="5400000">
            <a:off x="9928103" y="2233511"/>
            <a:ext cx="166152" cy="166152"/>
            <a:chOff x="5214995" y="-1168400"/>
            <a:chExt cx="431800" cy="431800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11A9EA57-349E-6453-094C-DB252913E583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79" name="Rectangle 89">
              <a:extLst>
                <a:ext uri="{FF2B5EF4-FFF2-40B4-BE49-F238E27FC236}">
                  <a16:creationId xmlns:a16="http://schemas.microsoft.com/office/drawing/2014/main" id="{217C0C60-8F15-8390-C6A7-0DB9E99CA65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3B572509-4831-8A48-B663-AE17D9FD8ED5}"/>
              </a:ext>
            </a:extLst>
          </p:cNvPr>
          <p:cNvGrpSpPr/>
          <p:nvPr userDrawn="1"/>
        </p:nvGrpSpPr>
        <p:grpSpPr>
          <a:xfrm rot="5400000">
            <a:off x="9928103" y="3954518"/>
            <a:ext cx="166152" cy="166152"/>
            <a:chOff x="5214995" y="-1168400"/>
            <a:chExt cx="431800" cy="431800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068A591D-A59C-D3D7-2C67-293B3727D0A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82" name="Rectangle 89">
              <a:extLst>
                <a:ext uri="{FF2B5EF4-FFF2-40B4-BE49-F238E27FC236}">
                  <a16:creationId xmlns:a16="http://schemas.microsoft.com/office/drawing/2014/main" id="{8B0AF6B1-C3AC-C476-AE16-287C61A1D75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95" name="Step 1 TItle">
            <a:extLst>
              <a:ext uri="{FF2B5EF4-FFF2-40B4-BE49-F238E27FC236}">
                <a16:creationId xmlns:a16="http://schemas.microsoft.com/office/drawing/2014/main" id="{545F2FD2-44C5-DA9F-8E2B-13D6C03793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06" name="Step 1 Top">
            <a:extLst>
              <a:ext uri="{FF2B5EF4-FFF2-40B4-BE49-F238E27FC236}">
                <a16:creationId xmlns:a16="http://schemas.microsoft.com/office/drawing/2014/main" id="{433B73A7-DB5C-AF5A-B12A-70E655D0C5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4200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9" name="Step 1 Bottom">
            <a:extLst>
              <a:ext uri="{FF2B5EF4-FFF2-40B4-BE49-F238E27FC236}">
                <a16:creationId xmlns:a16="http://schemas.microsoft.com/office/drawing/2014/main" id="{C966B391-3BF4-A5FB-4F8A-8B4B546896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4199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3" name="Step 2 Title">
            <a:extLst>
              <a:ext uri="{FF2B5EF4-FFF2-40B4-BE49-F238E27FC236}">
                <a16:creationId xmlns:a16="http://schemas.microsoft.com/office/drawing/2014/main" id="{DF1E6E41-3DB3-84EB-984F-CCB9167D56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6898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4" name="Step 2 Top">
            <a:extLst>
              <a:ext uri="{FF2B5EF4-FFF2-40B4-BE49-F238E27FC236}">
                <a16:creationId xmlns:a16="http://schemas.microsoft.com/office/drawing/2014/main" id="{6E6ACE10-8248-C360-0E35-7598E8EC82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76898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Step 2 Bottom">
            <a:extLst>
              <a:ext uri="{FF2B5EF4-FFF2-40B4-BE49-F238E27FC236}">
                <a16:creationId xmlns:a16="http://schemas.microsoft.com/office/drawing/2014/main" id="{55D154DF-71A5-D9D3-0756-AA7208899CF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76897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6" name="Step 3 Title">
            <a:extLst>
              <a:ext uri="{FF2B5EF4-FFF2-40B4-BE49-F238E27FC236}">
                <a16:creationId xmlns:a16="http://schemas.microsoft.com/office/drawing/2014/main" id="{3BF3353A-2534-A54C-BD30-4DA6ABBA06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9595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7" name="Step 3 Top">
            <a:extLst>
              <a:ext uri="{FF2B5EF4-FFF2-40B4-BE49-F238E27FC236}">
                <a16:creationId xmlns:a16="http://schemas.microsoft.com/office/drawing/2014/main" id="{F8FA69C0-B798-B0EF-B064-997FF774E8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69595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88" name="Step 3 Bottom">
            <a:extLst>
              <a:ext uri="{FF2B5EF4-FFF2-40B4-BE49-F238E27FC236}">
                <a16:creationId xmlns:a16="http://schemas.microsoft.com/office/drawing/2014/main" id="{FFA3E6BA-ECB6-F78C-CF22-7B05706020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969595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95" name="Step 4 Title">
            <a:extLst>
              <a:ext uri="{FF2B5EF4-FFF2-40B4-BE49-F238E27FC236}">
                <a16:creationId xmlns:a16="http://schemas.microsoft.com/office/drawing/2014/main" id="{4411A19D-5600-3582-7891-BEECA6B3C9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69595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6" name="Step 4 Top">
            <a:extLst>
              <a:ext uri="{FF2B5EF4-FFF2-40B4-BE49-F238E27FC236}">
                <a16:creationId xmlns:a16="http://schemas.microsoft.com/office/drawing/2014/main" id="{E6756EC6-5C62-CCBD-6970-540F4E463C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969595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Step 4 Bottom">
            <a:extLst>
              <a:ext uri="{FF2B5EF4-FFF2-40B4-BE49-F238E27FC236}">
                <a16:creationId xmlns:a16="http://schemas.microsoft.com/office/drawing/2014/main" id="{56520A8E-9E5D-0840-1CB1-35762F47BF5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69595" y="5696772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92" name="Step 5 Title">
            <a:extLst>
              <a:ext uri="{FF2B5EF4-FFF2-40B4-BE49-F238E27FC236}">
                <a16:creationId xmlns:a16="http://schemas.microsoft.com/office/drawing/2014/main" id="{D8F51403-DA8F-C60A-932D-8B8817FDA7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6898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3" name="Step 5 Top">
            <a:extLst>
              <a:ext uri="{FF2B5EF4-FFF2-40B4-BE49-F238E27FC236}">
                <a16:creationId xmlns:a16="http://schemas.microsoft.com/office/drawing/2014/main" id="{1D287AE8-D07F-849B-E6F1-1AC629E8FB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76898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4" name="Step 5 Bottom">
            <a:extLst>
              <a:ext uri="{FF2B5EF4-FFF2-40B4-BE49-F238E27FC236}">
                <a16:creationId xmlns:a16="http://schemas.microsoft.com/office/drawing/2014/main" id="{D79AB424-C959-FD9F-0942-4B657234F2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76897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89" name="Step 6 Title">
            <a:extLst>
              <a:ext uri="{FF2B5EF4-FFF2-40B4-BE49-F238E27FC236}">
                <a16:creationId xmlns:a16="http://schemas.microsoft.com/office/drawing/2014/main" id="{E07EBCA7-C1BD-E0AD-6403-14224CB1B5C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4200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0" name="Step 6 Top">
            <a:extLst>
              <a:ext uri="{FF2B5EF4-FFF2-40B4-BE49-F238E27FC236}">
                <a16:creationId xmlns:a16="http://schemas.microsoft.com/office/drawing/2014/main" id="{880DDDC9-1973-AB6B-84B0-8402F7E57DD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4200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1" name="Step 6 Bottom">
            <a:extLst>
              <a:ext uri="{FF2B5EF4-FFF2-40B4-BE49-F238E27FC236}">
                <a16:creationId xmlns:a16="http://schemas.microsoft.com/office/drawing/2014/main" id="{779BA1D8-105C-B66F-63AF-84DC7F62245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84200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5" name="Footnote">
            <a:extLst>
              <a:ext uri="{FF2B5EF4-FFF2-40B4-BE49-F238E27FC236}">
                <a16:creationId xmlns:a16="http://schemas.microsoft.com/office/drawing/2014/main" id="{31EB8337-5CD4-C7D9-AFCA-89AFAC81CFF8}"/>
              </a:ext>
            </a:extLst>
          </p:cNvPr>
          <p:cNvSpPr txBox="1">
            <a:spLocks/>
          </p:cNvSpPr>
          <p:nvPr userDrawn="1"/>
        </p:nvSpPr>
        <p:spPr>
          <a:xfrm>
            <a:off x="653131" y="6406129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noProof="0"/>
              <a:t>1</a:t>
            </a:r>
            <a:r>
              <a:rPr lang="en-US" noProof="0"/>
              <a:t>Access M365 Copilot Chat at </a:t>
            </a:r>
            <a:r>
              <a:rPr lang="en-US" noProof="0">
                <a:hlinkClick r:id="rId2"/>
              </a:rPr>
              <a:t>m365copilot.com </a:t>
            </a:r>
            <a:r>
              <a:rPr lang="en-US" noProof="0"/>
              <a:t>or the Microsoft 365 Copilot Chat mobile app and set toggle to “Web”.</a:t>
            </a:r>
          </a:p>
          <a:p>
            <a:r>
              <a:rPr lang="en-US" baseline="30000" noProof="0"/>
              <a:t>2</a:t>
            </a:r>
            <a:r>
              <a:rPr lang="en-US" noProof="0"/>
              <a:t>Access M365 Copilot Chat at </a:t>
            </a:r>
            <a:r>
              <a:rPr lang="en-US" noProof="0">
                <a:hlinkClick r:id="rId2"/>
              </a:rPr>
              <a:t>m365copilot.com</a:t>
            </a:r>
            <a:r>
              <a:rPr lang="en-US" noProof="0"/>
              <a:t>, the Microsoft 365 Copilot Chat mobile app, or the M365 Copilot Chat app in Teams, and set toggle to “Work”.</a:t>
            </a:r>
          </a:p>
          <a:p>
            <a:r>
              <a:rPr lang="en-US" baseline="30000" noProof="0"/>
              <a:t>3</a:t>
            </a:r>
            <a:r>
              <a:rPr lang="en-US" noProof="0"/>
              <a:t>AI Agents allow Copilot to access your organization-specific apps. In the past this would have required an API call to get data from a system of record.</a:t>
            </a:r>
          </a:p>
          <a:p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</p:spTree>
    <p:extLst>
      <p:ext uri="{BB962C8B-B14F-4D97-AF65-F5344CB8AC3E}">
        <p14:creationId xmlns:p14="http://schemas.microsoft.com/office/powerpoint/2010/main" val="40668552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420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74" r:id="rId2"/>
    <p:sldLayoutId id="2147483907" r:id="rId3"/>
    <p:sldLayoutId id="2147483835" r:id="rId4"/>
    <p:sldLayoutId id="2147483675" r:id="rId5"/>
    <p:sldLayoutId id="2147483676" r:id="rId6"/>
    <p:sldLayoutId id="2147483909" r:id="rId7"/>
    <p:sldLayoutId id="2147483911" r:id="rId8"/>
    <p:sldLayoutId id="2147483816" r:id="rId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016608-2078-9D88-D17D-057E167BE7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69A7DA4F-D78B-7B8B-6ED9-47773E15FB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7DA4F-D78B-7B8B-6ED9-47773E15F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ext Placeholder 162">
            <a:extLst>
              <a:ext uri="{FF2B5EF4-FFF2-40B4-BE49-F238E27FC236}">
                <a16:creationId xmlns:a16="http://schemas.microsoft.com/office/drawing/2014/main" id="{441D687E-7AF5-25E2-60BD-83A9BAF766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194560" cy="1131079"/>
          </a:xfrm>
        </p:spPr>
        <p:txBody>
          <a:bodyPr/>
          <a:lstStyle/>
          <a:p>
            <a:r>
              <a:rPr lang="en-US" noProof="0" dirty="0"/>
              <a:t>Copilot Studio can help streamline talent acquisition in Media &amp; Entertainment by automating the screening, scheduling, and feedback process for actors and voice actors—accelerating decision-making and reducing time-to-hire. </a:t>
            </a:r>
          </a:p>
        </p:txBody>
      </p:sp>
      <p:sp>
        <p:nvSpPr>
          <p:cNvPr id="158" name="Title 157">
            <a:extLst>
              <a:ext uri="{FF2B5EF4-FFF2-40B4-BE49-F238E27FC236}">
                <a16:creationId xmlns:a16="http://schemas.microsoft.com/office/drawing/2014/main" id="{18B43B1F-621A-B841-5B26-BF74D107C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874" y="429826"/>
            <a:ext cx="3994781" cy="276999"/>
          </a:xfrm>
        </p:spPr>
        <p:txBody>
          <a:bodyPr vert="horz">
            <a:normAutofit/>
          </a:bodyPr>
          <a:lstStyle/>
          <a:p>
            <a:r>
              <a:rPr lang="en-US"/>
              <a:t>Accelerate talent acquisition </a:t>
            </a:r>
          </a:p>
        </p:txBody>
      </p:sp>
      <p:sp>
        <p:nvSpPr>
          <p:cNvPr id="162" name="Text Placeholder 161">
            <a:extLst>
              <a:ext uri="{FF2B5EF4-FFF2-40B4-BE49-F238E27FC236}">
                <a16:creationId xmlns:a16="http://schemas.microsoft.com/office/drawing/2014/main" id="{823E1524-5636-8750-8FEB-7EA55D52138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>
            <a:normAutofit/>
          </a:bodyPr>
          <a:lstStyle/>
          <a:p>
            <a:r>
              <a:rPr lang="en-US" noProof="0"/>
              <a:t>Extend</a:t>
            </a:r>
          </a:p>
        </p:txBody>
      </p:sp>
      <p:sp>
        <p:nvSpPr>
          <p:cNvPr id="160" name="Text Placeholder 159">
            <a:extLst>
              <a:ext uri="{FF2B5EF4-FFF2-40B4-BE49-F238E27FC236}">
                <a16:creationId xmlns:a16="http://schemas.microsoft.com/office/drawing/2014/main" id="{0FA6125C-85EF-52FD-DD8E-13F5310D58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>
            <a:normAutofit/>
          </a:bodyPr>
          <a:lstStyle/>
          <a:p>
            <a:r>
              <a:rPr lang="en-US" noProof="0"/>
              <a:t>Microsoft 365 Copilot and Copilot Studio</a:t>
            </a:r>
          </a:p>
        </p:txBody>
      </p:sp>
      <p:sp>
        <p:nvSpPr>
          <p:cNvPr id="164" name="Text Placeholder 163">
            <a:extLst>
              <a:ext uri="{FF2B5EF4-FFF2-40B4-BE49-F238E27FC236}">
                <a16:creationId xmlns:a16="http://schemas.microsoft.com/office/drawing/2014/main" id="{7A740C88-FD45-25C9-7CC8-04C5B876C9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7" y="445215"/>
            <a:ext cx="2089153" cy="246221"/>
          </a:xfr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600"/>
              <a:t>Media &amp; Entertainment</a:t>
            </a:r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BAD636F8-7698-1E7B-A0F0-BCCB24681B9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890" y="2725494"/>
            <a:ext cx="2572262" cy="712876"/>
          </a:xfrm>
        </p:spPr>
        <p:txBody>
          <a:bodyPr/>
          <a:lstStyle/>
          <a:p>
            <a:r>
              <a:rPr lang="en-US" noProof="0"/>
              <a:t>Benefit: </a:t>
            </a:r>
            <a:r>
              <a:rPr lang="en-US" noProof="0">
                <a:latin typeface="+mj-lt"/>
              </a:rPr>
              <a:t>Connect to casting databases or CRM</a:t>
            </a:r>
            <a:r>
              <a:rPr lang="en-US" noProof="0"/>
              <a:t> and offer a shortlist of matching talent profiles instantly.</a:t>
            </a:r>
          </a:p>
        </p:txBody>
      </p:sp>
      <p:sp>
        <p:nvSpPr>
          <p:cNvPr id="159" name="Text Placeholder 158">
            <a:extLst>
              <a:ext uri="{FF2B5EF4-FFF2-40B4-BE49-F238E27FC236}">
                <a16:creationId xmlns:a16="http://schemas.microsoft.com/office/drawing/2014/main" id="{F02AECD1-A74F-449F-9908-DD725B34E2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</p:spPr>
        <p:txBody>
          <a:bodyPr/>
          <a:lstStyle/>
          <a:p>
            <a:r>
              <a:rPr lang="en-US" noProof="0"/>
              <a:t>Intake and role matching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id="{F8C91EE7-DD21-D2A5-58EA-5CE0215A02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90" y="1438715"/>
            <a:ext cx="2572262" cy="626701"/>
          </a:xfrm>
        </p:spPr>
        <p:txBody>
          <a:bodyPr/>
          <a:lstStyle/>
          <a:p>
            <a:r>
              <a:rPr lang="en-US" noProof="0"/>
              <a:t>For a new casting request for a voice actor, a casting director can leverage an agent to quickly parse the role requirements—genre, tone, language, and availability.</a:t>
            </a:r>
          </a:p>
        </p:txBody>
      </p:sp>
      <p:sp>
        <p:nvSpPr>
          <p:cNvPr id="166" name="Text Placeholder 165">
            <a:extLst>
              <a:ext uri="{FF2B5EF4-FFF2-40B4-BE49-F238E27FC236}">
                <a16:creationId xmlns:a16="http://schemas.microsoft.com/office/drawing/2014/main" id="{A44C19D3-1B80-6352-C13F-169B8C54D75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</p:spPr>
        <p:txBody>
          <a:bodyPr/>
          <a:lstStyle/>
          <a:p>
            <a:r>
              <a:rPr lang="en-US"/>
              <a:t>Initial screening automation</a:t>
            </a:r>
          </a:p>
        </p:txBody>
      </p:sp>
      <p:sp>
        <p:nvSpPr>
          <p:cNvPr id="167" name="Text Placeholder 166">
            <a:extLst>
              <a:ext uri="{FF2B5EF4-FFF2-40B4-BE49-F238E27FC236}">
                <a16:creationId xmlns:a16="http://schemas.microsoft.com/office/drawing/2014/main" id="{2F441C4C-F6E3-F043-660A-F87D12DC281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/>
          <a:lstStyle/>
          <a:p>
            <a:r>
              <a:rPr lang="en-US" noProof="0" dirty="0"/>
              <a:t>Next, screening questions are sent to the shortlisted talent (availability, interest, demo reel submission).</a:t>
            </a:r>
          </a:p>
        </p:txBody>
      </p:sp>
      <p:sp>
        <p:nvSpPr>
          <p:cNvPr id="171" name="Text Placeholder 170">
            <a:extLst>
              <a:ext uri="{FF2B5EF4-FFF2-40B4-BE49-F238E27FC236}">
                <a16:creationId xmlns:a16="http://schemas.microsoft.com/office/drawing/2014/main" id="{B9F70AB5-9DD5-6FA3-4A32-9E34F0BC8B1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475" y="2725494"/>
            <a:ext cx="2572262" cy="712876"/>
          </a:xfrm>
        </p:spPr>
        <p:txBody>
          <a:bodyPr/>
          <a:lstStyle/>
          <a:p>
            <a:r>
              <a:rPr lang="en-US" dirty="0"/>
              <a:t>Benefit: </a:t>
            </a:r>
            <a:r>
              <a:rPr lang="en-US" dirty="0">
                <a:latin typeface="+mj-lt"/>
              </a:rPr>
              <a:t>Streamline audition scheduling </a:t>
            </a:r>
            <a:r>
              <a:rPr lang="en-US" dirty="0"/>
              <a:t>and save time with reminders and calendar holds sent automatically.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70FC2BE8-4541-2926-3BCE-F2A74E99661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</p:spPr>
        <p:txBody>
          <a:bodyPr/>
          <a:lstStyle/>
          <a:p>
            <a:r>
              <a:rPr lang="en-US"/>
              <a:t>Smart scheduling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B424F231-B2C2-A87B-D517-528011C790A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5" y="1438715"/>
            <a:ext cx="2572262" cy="626701"/>
          </a:xfrm>
        </p:spPr>
        <p:txBody>
          <a:bodyPr/>
          <a:lstStyle/>
          <a:p>
            <a:r>
              <a:rPr lang="en-US"/>
              <a:t>Coordinate audition slots based on talent availability and casting director calendars. Auditions are scheduled without wasted back-and-forth emails.</a:t>
            </a:r>
          </a:p>
        </p:txBody>
      </p:sp>
      <p:sp>
        <p:nvSpPr>
          <p:cNvPr id="180" name="Text Placeholder 179">
            <a:extLst>
              <a:ext uri="{FF2B5EF4-FFF2-40B4-BE49-F238E27FC236}">
                <a16:creationId xmlns:a16="http://schemas.microsoft.com/office/drawing/2014/main" id="{6E55FA2C-2EF2-5A33-9771-6B201ECAB51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6682" y="2725494"/>
            <a:ext cx="2572262" cy="712876"/>
          </a:xfrm>
        </p:spPr>
        <p:txBody>
          <a:bodyPr/>
          <a:lstStyle/>
          <a:p>
            <a:r>
              <a:rPr lang="en-US" noProof="0"/>
              <a:t>Benefit: </a:t>
            </a:r>
            <a:r>
              <a:rPr lang="en-US">
                <a:latin typeface="+mj-lt"/>
              </a:rPr>
              <a:t>Collect responses </a:t>
            </a:r>
            <a:r>
              <a:rPr lang="en-US" noProof="0"/>
              <a:t>and help score them with adaptive cards to flag potential voice actor talent, </a:t>
            </a:r>
            <a:r>
              <a:rPr lang="en-US"/>
              <a:t>based on criteria (like availability and experience).</a:t>
            </a:r>
            <a:endParaRPr lang="en-US" noProof="0"/>
          </a:p>
        </p:txBody>
      </p:sp>
      <p:sp>
        <p:nvSpPr>
          <p:cNvPr id="172" name="Text Placeholder 171">
            <a:extLst>
              <a:ext uri="{FF2B5EF4-FFF2-40B4-BE49-F238E27FC236}">
                <a16:creationId xmlns:a16="http://schemas.microsoft.com/office/drawing/2014/main" id="{919734AE-F335-C4B2-B056-9BADF6311C3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</p:spPr>
        <p:txBody>
          <a:bodyPr/>
          <a:lstStyle/>
          <a:p>
            <a:r>
              <a:rPr lang="en-US" noProof="0"/>
              <a:t>Benefit: </a:t>
            </a:r>
            <a:r>
              <a:rPr lang="en-US">
                <a:latin typeface="+mj-lt"/>
              </a:rPr>
              <a:t>Offer letters are generated and delivered </a:t>
            </a:r>
            <a:r>
              <a:rPr lang="en-US"/>
              <a:t>within minutes, reducing delays and ensuring a professional, consistent candidate experience.</a:t>
            </a:r>
            <a:endParaRPr lang="en-US" noProof="0"/>
          </a:p>
        </p:txBody>
      </p:sp>
      <p:sp>
        <p:nvSpPr>
          <p:cNvPr id="173" name="Text Placeholder 172">
            <a:extLst>
              <a:ext uri="{FF2B5EF4-FFF2-40B4-BE49-F238E27FC236}">
                <a16:creationId xmlns:a16="http://schemas.microsoft.com/office/drawing/2014/main" id="{F512055D-9E20-011F-222B-A1D1F590A688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</p:spPr>
        <p:txBody>
          <a:bodyPr/>
          <a:lstStyle/>
          <a:p>
            <a:r>
              <a:rPr lang="en-US" noProof="0"/>
              <a:t>Draft and send offer letters</a:t>
            </a:r>
          </a:p>
        </p:txBody>
      </p:sp>
      <p:sp>
        <p:nvSpPr>
          <p:cNvPr id="174" name="Text Placeholder 173">
            <a:extLst>
              <a:ext uri="{FF2B5EF4-FFF2-40B4-BE49-F238E27FC236}">
                <a16:creationId xmlns:a16="http://schemas.microsoft.com/office/drawing/2014/main" id="{D746C365-405A-B902-9BFE-2B0659E75D05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/>
          <a:lstStyle/>
          <a:p>
            <a:r>
              <a:rPr lang="en-US" noProof="0" dirty="0"/>
              <a:t>Once an artist is selected, the agent can draft a personalized offer letter using predefined templates and film-specific details, like start date. </a:t>
            </a: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990B973E-08F0-2D93-E923-8E3DCC7617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</p:spPr>
        <p:txBody>
          <a:bodyPr/>
          <a:lstStyle/>
          <a:p>
            <a:r>
              <a:rPr lang="en-US"/>
              <a:t>Decision support and follow-up</a:t>
            </a:r>
          </a:p>
        </p:txBody>
      </p:sp>
      <p:sp>
        <p:nvSpPr>
          <p:cNvPr id="176" name="Text Placeholder 175">
            <a:extLst>
              <a:ext uri="{FF2B5EF4-FFF2-40B4-BE49-F238E27FC236}">
                <a16:creationId xmlns:a16="http://schemas.microsoft.com/office/drawing/2014/main" id="{7916CF6A-4E90-95BD-0310-D49227A7BD9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opilot can help aggregate feedback, helping highlight the top candidates and categorizing the team’s feedback.</a:t>
            </a:r>
          </a:p>
        </p:txBody>
      </p:sp>
      <p:sp>
        <p:nvSpPr>
          <p:cNvPr id="165" name="Text Placeholder 164">
            <a:extLst>
              <a:ext uri="{FF2B5EF4-FFF2-40B4-BE49-F238E27FC236}">
                <a16:creationId xmlns:a16="http://schemas.microsoft.com/office/drawing/2014/main" id="{712AE014-248C-7A1A-5AE2-C9B5A7976C5F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475" y="5334522"/>
            <a:ext cx="2572262" cy="712876"/>
          </a:xfrm>
        </p:spPr>
        <p:txBody>
          <a:bodyPr/>
          <a:lstStyle/>
          <a:p>
            <a:r>
              <a:rPr lang="en-US" noProof="0"/>
              <a:t>Benefit: </a:t>
            </a:r>
            <a:r>
              <a:rPr lang="en-US">
                <a:latin typeface="+mj-lt"/>
              </a:rPr>
              <a:t>Centralize feedback</a:t>
            </a:r>
            <a:r>
              <a:rPr lang="en-US"/>
              <a:t>, tagged by reviewer and role, summarized for decision-making using Loop components. </a:t>
            </a:r>
            <a:endParaRPr lang="en-US" noProof="0"/>
          </a:p>
        </p:txBody>
      </p:sp>
      <p:sp>
        <p:nvSpPr>
          <p:cNvPr id="178" name="Text Placeholder 177">
            <a:extLst>
              <a:ext uri="{FF2B5EF4-FFF2-40B4-BE49-F238E27FC236}">
                <a16:creationId xmlns:a16="http://schemas.microsoft.com/office/drawing/2014/main" id="{E302ECD4-9FDE-3380-D8F2-BFE531E6782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</p:spPr>
        <p:txBody>
          <a:bodyPr/>
          <a:lstStyle/>
          <a:p>
            <a:r>
              <a:rPr lang="en-US"/>
              <a:t>Feedback loop activation</a:t>
            </a:r>
          </a:p>
        </p:txBody>
      </p:sp>
      <p:sp>
        <p:nvSpPr>
          <p:cNvPr id="179" name="Text Placeholder 178">
            <a:extLst>
              <a:ext uri="{FF2B5EF4-FFF2-40B4-BE49-F238E27FC236}">
                <a16:creationId xmlns:a16="http://schemas.microsoft.com/office/drawing/2014/main" id="{1C2BDC91-5BB4-015E-0D0C-BECACCDC821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/>
          <a:lstStyle/>
          <a:p>
            <a:r>
              <a:rPr lang="en-US"/>
              <a:t>After auditions, the agent can help prompt other important reviewers, like producers, to send structured feedback to the casting director.</a:t>
            </a:r>
          </a:p>
        </p:txBody>
      </p:sp>
      <p:sp>
        <p:nvSpPr>
          <p:cNvPr id="168" name="Text Placeholder 167">
            <a:extLst>
              <a:ext uri="{FF2B5EF4-FFF2-40B4-BE49-F238E27FC236}">
                <a16:creationId xmlns:a16="http://schemas.microsoft.com/office/drawing/2014/main" id="{93F1B30C-2572-4A09-3179-5B22B2F00397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6682" y="5334522"/>
            <a:ext cx="2572262" cy="712876"/>
          </a:xfrm>
        </p:spPr>
        <p:txBody>
          <a:bodyPr/>
          <a:lstStyle/>
          <a:p>
            <a:r>
              <a:rPr lang="en-US" noProof="0"/>
              <a:t>Benefit: </a:t>
            </a:r>
            <a:r>
              <a:rPr lang="en-US">
                <a:latin typeface="+mj-lt"/>
              </a:rPr>
              <a:t>Visualize feedback trends </a:t>
            </a:r>
            <a:r>
              <a:rPr lang="en-US" noProof="0"/>
              <a:t>for faster consensus and reduced time-to-hire.</a:t>
            </a:r>
          </a:p>
        </p:txBody>
      </p:sp>
      <p:sp>
        <p:nvSpPr>
          <p:cNvPr id="181" name="Text Placeholder 180">
            <a:extLst>
              <a:ext uri="{FF2B5EF4-FFF2-40B4-BE49-F238E27FC236}">
                <a16:creationId xmlns:a16="http://schemas.microsoft.com/office/drawing/2014/main" id="{01AEB2D3-998D-BB52-F8DD-DDF4FF926B2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</p:spPr>
        <p:txBody>
          <a:bodyPr/>
          <a:lstStyle/>
          <a:p>
            <a:r>
              <a:rPr lang="en-US" noProof="0"/>
              <a:t>Value benefit</a:t>
            </a:r>
          </a:p>
        </p:txBody>
      </p:sp>
      <p:sp>
        <p:nvSpPr>
          <p:cNvPr id="182" name="Text Placeholder 181">
            <a:extLst>
              <a:ext uri="{FF2B5EF4-FFF2-40B4-BE49-F238E27FC236}">
                <a16:creationId xmlns:a16="http://schemas.microsoft.com/office/drawing/2014/main" id="{DAD5E85E-E8E4-AB53-8876-1C86DE423115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</p:spPr>
        <p:txBody>
          <a:bodyPr/>
          <a:lstStyle/>
          <a:p>
            <a:r>
              <a:rPr lang="en-US" noProof="0"/>
              <a:t>KPIs impacted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16D81568-BF2F-7975-0349-9662040F833D}"/>
              </a:ext>
            </a:extLst>
          </p:cNvPr>
          <p:cNvGrpSpPr/>
          <p:nvPr/>
        </p:nvGrpSpPr>
        <p:grpSpPr>
          <a:xfrm>
            <a:off x="320719" y="3778836"/>
            <a:ext cx="1771607" cy="504622"/>
            <a:chOff x="320719" y="4228589"/>
            <a:chExt cx="1771607" cy="504622"/>
          </a:xfrm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07C59128-19BA-ED5C-EC7E-B04D3A85488C}"/>
                </a:ext>
              </a:extLst>
            </p:cNvPr>
            <p:cNvGrpSpPr/>
            <p:nvPr/>
          </p:nvGrpSpPr>
          <p:grpSpPr>
            <a:xfrm>
              <a:off x="320719" y="4228589"/>
              <a:ext cx="1771605" cy="216000"/>
              <a:chOff x="320719" y="4224848"/>
              <a:chExt cx="1771605" cy="219456"/>
            </a:xfrm>
          </p:grpSpPr>
          <p:sp>
            <p:nvSpPr>
              <p:cNvPr id="191" name="Rectangle: Rounded Corners 6">
                <a:extLst>
                  <a:ext uri="{FF2B5EF4-FFF2-40B4-BE49-F238E27FC236}">
                    <a16:creationId xmlns:a16="http://schemas.microsoft.com/office/drawing/2014/main" id="{72E8E8C7-7057-C8E1-2282-44D7A3D5511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320719" y="4224848"/>
                <a:ext cx="1771605" cy="21945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/>
                  </a:rPr>
                  <a:t>Employee satisfaction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2" name="Graphic 191">
                <a:extLst>
                  <a:ext uri="{FF2B5EF4-FFF2-40B4-BE49-F238E27FC236}">
                    <a16:creationId xmlns:a16="http://schemas.microsoft.com/office/drawing/2014/main" id="{03696AEE-9695-955D-05F0-955A55D488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7506" y="4260849"/>
                <a:ext cx="144000" cy="144000"/>
              </a:xfrm>
              <a:prstGeom prst="rect">
                <a:avLst/>
              </a:prstGeom>
            </p:spPr>
          </p:pic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B898395F-1335-BB3B-D8BD-78B067C9178B}"/>
                </a:ext>
              </a:extLst>
            </p:cNvPr>
            <p:cNvGrpSpPr/>
            <p:nvPr/>
          </p:nvGrpSpPr>
          <p:grpSpPr>
            <a:xfrm>
              <a:off x="320721" y="4517211"/>
              <a:ext cx="1771605" cy="216000"/>
              <a:chOff x="320721" y="4517211"/>
              <a:chExt cx="1771605" cy="216000"/>
            </a:xfrm>
          </p:grpSpPr>
          <p:sp>
            <p:nvSpPr>
              <p:cNvPr id="189" name="Rectangle: Rounded Corners 6">
                <a:extLst>
                  <a:ext uri="{FF2B5EF4-FFF2-40B4-BE49-F238E27FC236}">
                    <a16:creationId xmlns:a16="http://schemas.microsoft.com/office/drawing/2014/main" id="{5A9B13E6-40EF-F752-4C17-C7A7D8208AD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721" y="4517211"/>
                <a:ext cx="1771605" cy="216000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/>
                  </a:rPr>
                  <a:t>Time-to-schedule reduction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0" name="Graphic 189">
                <a:extLst>
                  <a:ext uri="{FF2B5EF4-FFF2-40B4-BE49-F238E27FC236}">
                    <a16:creationId xmlns:a16="http://schemas.microsoft.com/office/drawing/2014/main" id="{62B1139C-7E09-2656-94BD-01FE44200F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7507" y="4552645"/>
                <a:ext cx="144000" cy="141732"/>
              </a:xfrm>
              <a:prstGeom prst="rect">
                <a:avLst/>
              </a:prstGeom>
            </p:spPr>
          </p:pic>
        </p:grp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E93153AB-79A4-E7AF-D01F-E7CAE06BE139}"/>
              </a:ext>
            </a:extLst>
          </p:cNvPr>
          <p:cNvGrpSpPr/>
          <p:nvPr/>
        </p:nvGrpSpPr>
        <p:grpSpPr>
          <a:xfrm>
            <a:off x="320719" y="5020658"/>
            <a:ext cx="1771605" cy="216000"/>
            <a:chOff x="320719" y="5270676"/>
            <a:chExt cx="1771605" cy="216000"/>
          </a:xfrm>
        </p:grpSpPr>
        <p:sp>
          <p:nvSpPr>
            <p:cNvPr id="198" name="Rectangle: Rounded Corners 6">
              <a:extLst>
                <a:ext uri="{FF2B5EF4-FFF2-40B4-BE49-F238E27FC236}">
                  <a16:creationId xmlns:a16="http://schemas.microsoft.com/office/drawing/2014/main" id="{3E151099-30A0-4785-AAC3-39037454F1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20719" y="5270676"/>
              <a:ext cx="1771605" cy="216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2700">
              <a:solidFill>
                <a:srgbClr val="C03BC4"/>
              </a:solidFill>
              <a:headEnd type="none" w="med" len="med"/>
              <a:tailEnd type="none" w="med" len="med"/>
            </a:ln>
            <a:effectLst>
              <a:outerShdw blurRad="63500" dist="63500" dir="2700000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C03BC4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Cost savings</a:t>
              </a:r>
            </a:p>
          </p:txBody>
        </p:sp>
        <p:pic>
          <p:nvPicPr>
            <p:cNvPr id="199" name="Graphic 198">
              <a:extLst>
                <a:ext uri="{FF2B5EF4-FFF2-40B4-BE49-F238E27FC236}">
                  <a16:creationId xmlns:a16="http://schemas.microsoft.com/office/drawing/2014/main" id="{B184777E-60DF-BB5E-EECD-00B5C1CA2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7505" y="5306676"/>
              <a:ext cx="144000" cy="144000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4A5A74CA-7106-8108-D6D4-1BCD767915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3552452" y="4857529"/>
            <a:ext cx="115100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Outlook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D485D65F-C261-0EB2-1FBE-6726DD25566C}"/>
              </a:ext>
            </a:extLst>
          </p:cNvPr>
          <p:cNvSpPr/>
          <p:nvPr/>
        </p:nvSpPr>
        <p:spPr bwMode="auto">
          <a:xfrm rot="20888769">
            <a:off x="-64817" y="53746"/>
            <a:ext cx="2350874" cy="282342"/>
          </a:xfrm>
          <a:custGeom>
            <a:avLst/>
            <a:gdLst>
              <a:gd name="connsiteX0" fmla="*/ 0 w 6121537"/>
              <a:gd name="connsiteY0" fmla="*/ 0 h 407061"/>
              <a:gd name="connsiteX1" fmla="*/ 6121537 w 6121537"/>
              <a:gd name="connsiteY1" fmla="*/ 0 h 407061"/>
              <a:gd name="connsiteX2" fmla="*/ 6121537 w 6121537"/>
              <a:gd name="connsiteY2" fmla="*/ 407061 h 407061"/>
              <a:gd name="connsiteX3" fmla="*/ 0 w 6121537"/>
              <a:gd name="connsiteY3" fmla="*/ 407061 h 407061"/>
              <a:gd name="connsiteX4" fmla="*/ 0 w 6121537"/>
              <a:gd name="connsiteY4" fmla="*/ 0 h 407061"/>
              <a:gd name="connsiteX0" fmla="*/ 0 w 6121537"/>
              <a:gd name="connsiteY0" fmla="*/ 1677 h 408738"/>
              <a:gd name="connsiteX1" fmla="*/ 4253239 w 6121537"/>
              <a:gd name="connsiteY1" fmla="*/ 0 h 408738"/>
              <a:gd name="connsiteX2" fmla="*/ 6121537 w 6121537"/>
              <a:gd name="connsiteY2" fmla="*/ 408738 h 408738"/>
              <a:gd name="connsiteX3" fmla="*/ 0 w 6121537"/>
              <a:gd name="connsiteY3" fmla="*/ 408738 h 408738"/>
              <a:gd name="connsiteX4" fmla="*/ 0 w 6121537"/>
              <a:gd name="connsiteY4" fmla="*/ 1677 h 408738"/>
              <a:gd name="connsiteX0" fmla="*/ 0 w 6144375"/>
              <a:gd name="connsiteY0" fmla="*/ 1677 h 408738"/>
              <a:gd name="connsiteX1" fmla="*/ 4253239 w 6144375"/>
              <a:gd name="connsiteY1" fmla="*/ 0 h 408738"/>
              <a:gd name="connsiteX2" fmla="*/ 6144375 w 6144375"/>
              <a:gd name="connsiteY2" fmla="*/ 399586 h 408738"/>
              <a:gd name="connsiteX3" fmla="*/ 0 w 6144375"/>
              <a:gd name="connsiteY3" fmla="*/ 408738 h 408738"/>
              <a:gd name="connsiteX4" fmla="*/ 0 w 6144375"/>
              <a:gd name="connsiteY4" fmla="*/ 1677 h 408738"/>
              <a:gd name="connsiteX0" fmla="*/ 80470 w 6144375"/>
              <a:gd name="connsiteY0" fmla="*/ 0 h 425035"/>
              <a:gd name="connsiteX1" fmla="*/ 4253239 w 6144375"/>
              <a:gd name="connsiteY1" fmla="*/ 16297 h 425035"/>
              <a:gd name="connsiteX2" fmla="*/ 6144375 w 6144375"/>
              <a:gd name="connsiteY2" fmla="*/ 415883 h 425035"/>
              <a:gd name="connsiteX3" fmla="*/ 0 w 6144375"/>
              <a:gd name="connsiteY3" fmla="*/ 425035 h 425035"/>
              <a:gd name="connsiteX4" fmla="*/ 80470 w 6144375"/>
              <a:gd name="connsiteY4" fmla="*/ 0 h 425035"/>
              <a:gd name="connsiteX0" fmla="*/ 80470 w 6445295"/>
              <a:gd name="connsiteY0" fmla="*/ 0 h 425035"/>
              <a:gd name="connsiteX1" fmla="*/ 4253239 w 6445295"/>
              <a:gd name="connsiteY1" fmla="*/ 16297 h 425035"/>
              <a:gd name="connsiteX2" fmla="*/ 6445296 w 6445295"/>
              <a:gd name="connsiteY2" fmla="*/ 283878 h 425035"/>
              <a:gd name="connsiteX3" fmla="*/ 0 w 6445295"/>
              <a:gd name="connsiteY3" fmla="*/ 425035 h 425035"/>
              <a:gd name="connsiteX4" fmla="*/ 80470 w 6445295"/>
              <a:gd name="connsiteY4" fmla="*/ 0 h 425035"/>
              <a:gd name="connsiteX0" fmla="*/ 177681 w 6445295"/>
              <a:gd name="connsiteY0" fmla="*/ 0 h 436254"/>
              <a:gd name="connsiteX1" fmla="*/ 4253239 w 6445295"/>
              <a:gd name="connsiteY1" fmla="*/ 27516 h 436254"/>
              <a:gd name="connsiteX2" fmla="*/ 6445296 w 6445295"/>
              <a:gd name="connsiteY2" fmla="*/ 295097 h 436254"/>
              <a:gd name="connsiteX3" fmla="*/ 0 w 6445295"/>
              <a:gd name="connsiteY3" fmla="*/ 436254 h 436254"/>
              <a:gd name="connsiteX4" fmla="*/ 177681 w 6445295"/>
              <a:gd name="connsiteY4" fmla="*/ 0 h 436254"/>
              <a:gd name="connsiteX0" fmla="*/ 113979 w 6381593"/>
              <a:gd name="connsiteY0" fmla="*/ 0 h 443944"/>
              <a:gd name="connsiteX1" fmla="*/ 4189537 w 6381593"/>
              <a:gd name="connsiteY1" fmla="*/ 27516 h 443944"/>
              <a:gd name="connsiteX2" fmla="*/ 6381594 w 6381593"/>
              <a:gd name="connsiteY2" fmla="*/ 295097 h 443944"/>
              <a:gd name="connsiteX3" fmla="*/ 1 w 6381593"/>
              <a:gd name="connsiteY3" fmla="*/ 443945 h 443944"/>
              <a:gd name="connsiteX4" fmla="*/ 113979 w 6381593"/>
              <a:gd name="connsiteY4" fmla="*/ 0 h 44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1593" h="443944">
                <a:moveTo>
                  <a:pt x="113979" y="0"/>
                </a:moveTo>
                <a:lnTo>
                  <a:pt x="4189537" y="27516"/>
                </a:lnTo>
                <a:lnTo>
                  <a:pt x="6381594" y="295097"/>
                </a:lnTo>
                <a:lnTo>
                  <a:pt x="1" y="443945"/>
                </a:lnTo>
                <a:lnTo>
                  <a:pt x="113979" y="0"/>
                </a:lnTo>
                <a:close/>
              </a:path>
            </a:pathLst>
          </a:cu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>
                <a:solidFill>
                  <a:srgbClr val="07641D"/>
                </a:solidFill>
                <a:ea typeface="Segoe UI" pitchFamily="34" charset="0"/>
                <a:cs typeface="Segoe UI" pitchFamily="34" charset="0"/>
              </a:rPr>
              <a:t>NEW </a:t>
            </a:r>
            <a:r>
              <a:rPr lang="en-US" sz="1000" i="1">
                <a:solidFill>
                  <a:srgbClr val="07641D"/>
                </a:solidFill>
                <a:ea typeface="Segoe UI" pitchFamily="34" charset="0"/>
                <a:cs typeface="Segoe UI" pitchFamily="34" charset="0"/>
              </a:rPr>
              <a:t>READY FOR REVIE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471FC-4453-0515-9E7F-74A8E3549A7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3552452" y="2166630"/>
            <a:ext cx="16570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Agen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3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+ Connection to CR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7A63363-3289-85B5-51A7-8E47CF9FC9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465562" y="2105074"/>
            <a:ext cx="1657099" cy="4001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Agen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3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+ Connection to CRM</a:t>
            </a: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78D4"/>
                </a:solidFill>
                <a:latin typeface="Segoe UI Semibold"/>
              </a:rPr>
              <a:t>+ Connection to Team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3424A46-BA1D-C1E1-9E99-F284E752A33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22478" y="2166630"/>
            <a:ext cx="16570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Agent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3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78D4"/>
                </a:solidFill>
                <a:latin typeface="Segoe UI Semibold"/>
              </a:rPr>
              <a:t>+ Connection to Booking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3812B6B-FA07-2868-CC94-7F5719E33C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28749" y="4795974"/>
            <a:ext cx="16570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Agen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3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78D4"/>
                </a:solidFill>
                <a:latin typeface="Segoe UI Semibold"/>
              </a:rPr>
              <a:t>+ Connection to Loop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401526D-4AC8-2CE9-1BBB-F2D02AF2FF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470680" y="4857529"/>
            <a:ext cx="149079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Excel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E7680B0-835D-6239-8667-AFB2416F6CED}"/>
              </a:ext>
            </a:extLst>
          </p:cNvPr>
          <p:cNvGrpSpPr/>
          <p:nvPr/>
        </p:nvGrpSpPr>
        <p:grpSpPr>
          <a:xfrm>
            <a:off x="320719" y="5304564"/>
            <a:ext cx="1771605" cy="216000"/>
            <a:chOff x="320719" y="5270676"/>
            <a:chExt cx="1771605" cy="216000"/>
          </a:xfrm>
        </p:grpSpPr>
        <p:sp>
          <p:nvSpPr>
            <p:cNvPr id="58" name="Rectangle: Rounded Corners 6">
              <a:extLst>
                <a:ext uri="{FF2B5EF4-FFF2-40B4-BE49-F238E27FC236}">
                  <a16:creationId xmlns:a16="http://schemas.microsoft.com/office/drawing/2014/main" id="{FBC5A4F6-2AE9-AE54-43C4-6F5443DFF2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20719" y="5270676"/>
              <a:ext cx="1771605" cy="216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2700">
              <a:solidFill>
                <a:srgbClr val="C03BC4"/>
              </a:solidFill>
              <a:headEnd type="none" w="med" len="med"/>
              <a:tailEnd type="none" w="med" len="med"/>
            </a:ln>
            <a:effectLst>
              <a:outerShdw blurRad="63500" dist="63500" dir="2700000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C03BC4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Talent acquisition  speed</a:t>
              </a:r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3DEC4B-C0A0-23B3-F21A-F94E0552A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7505" y="5306676"/>
              <a:ext cx="144000" cy="144000"/>
            </a:xfrm>
            <a:prstGeom prst="rect">
              <a:avLst/>
            </a:prstGeom>
          </p:spPr>
        </p:pic>
      </p:grpSp>
      <p:pic>
        <p:nvPicPr>
          <p:cNvPr id="2" name="Graphic 58">
            <a:extLst>
              <a:ext uri="{FF2B5EF4-FFF2-40B4-BE49-F238E27FC236}">
                <a16:creationId xmlns:a16="http://schemas.microsoft.com/office/drawing/2014/main" id="{2A825C63-E78B-35AB-772E-5A07EC1720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82890" y="2187296"/>
            <a:ext cx="265126" cy="235667"/>
          </a:xfrm>
          <a:prstGeom prst="rect">
            <a:avLst/>
          </a:prstGeom>
        </p:spPr>
      </p:pic>
      <p:pic>
        <p:nvPicPr>
          <p:cNvPr id="3" name="Graphic 59">
            <a:extLst>
              <a:ext uri="{FF2B5EF4-FFF2-40B4-BE49-F238E27FC236}">
                <a16:creationId xmlns:a16="http://schemas.microsoft.com/office/drawing/2014/main" id="{B1DACAA6-D3E5-520F-2FCA-0BE17C6184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6682" y="2187296"/>
            <a:ext cx="265126" cy="235667"/>
          </a:xfrm>
          <a:prstGeom prst="rect">
            <a:avLst/>
          </a:prstGeom>
        </p:spPr>
      </p:pic>
      <p:pic>
        <p:nvPicPr>
          <p:cNvPr id="4" name="Graphic 60">
            <a:extLst>
              <a:ext uri="{FF2B5EF4-FFF2-40B4-BE49-F238E27FC236}">
                <a16:creationId xmlns:a16="http://schemas.microsoft.com/office/drawing/2014/main" id="{84D6BB09-20A2-848A-E5FE-6DC1C5D4A8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0475" y="2187296"/>
            <a:ext cx="265126" cy="235667"/>
          </a:xfrm>
          <a:prstGeom prst="rect">
            <a:avLst/>
          </a:prstGeom>
        </p:spPr>
      </p:pic>
      <p:pic>
        <p:nvPicPr>
          <p:cNvPr id="6" name="Graphic 61">
            <a:extLst>
              <a:ext uri="{FF2B5EF4-FFF2-40B4-BE49-F238E27FC236}">
                <a16:creationId xmlns:a16="http://schemas.microsoft.com/office/drawing/2014/main" id="{AD25F84C-B0EC-97F0-CEA2-A72A663B32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0475" y="4816640"/>
            <a:ext cx="265126" cy="235667"/>
          </a:xfrm>
          <a:prstGeom prst="rect">
            <a:avLst/>
          </a:prstGeom>
        </p:spPr>
      </p:pic>
      <p:pic>
        <p:nvPicPr>
          <p:cNvPr id="10" name="Picture 9" descr="Excel logo">
            <a:extLst>
              <a:ext uri="{FF2B5EF4-FFF2-40B4-BE49-F238E27FC236}">
                <a16:creationId xmlns:a16="http://schemas.microsoft.com/office/drawing/2014/main" id="{B510F655-B8F2-55DC-C427-A921A934A7A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66682" y="4801885"/>
            <a:ext cx="265176" cy="2651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BEC7FE-A04C-8A54-2B02-9971A0455D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82890" y="4801885"/>
            <a:ext cx="265176" cy="26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44606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c12c9beb-9115-4dd4-b4b0-98592a7680e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6" ma:contentTypeDescription="Create a new document." ma:contentTypeScope="" ma:versionID="ba0c03e64be8ee40ecdff530c39fb4b4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e40f2d4fd7089cf71002697928c39dfe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c12c9beb-9115-4dd4-b4b0-98592a7680e2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9b9b331a-5640-4f50-a010-6cc4266aa39c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52CF4-760D-4C86-B3E5-0A4850814475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0</Words>
  <Application>Microsoft Office PowerPoint</Application>
  <PresentationFormat>Widescreen</PresentationFormat>
  <Paragraphs>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Accelerate talent acquisi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ylan Bode (FREEMIND SEATTLE LLC)</cp:lastModifiedBy>
  <cp:revision>12</cp:revision>
  <dcterms:created xsi:type="dcterms:W3CDTF">2024-09-25T15:39:48Z</dcterms:created>
  <dcterms:modified xsi:type="dcterms:W3CDTF">2026-02-06T17:2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  <property fmtid="{D5CDD505-2E9C-101B-9397-08002B2CF9AE}" pid="3" name="MediaServiceImageTags">
    <vt:lpwstr/>
  </property>
</Properties>
</file>